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1"/>
  </p:notesMasterIdLst>
  <p:sldIdLst>
    <p:sldId id="257" r:id="rId8"/>
    <p:sldId id="259" r:id="rId9"/>
    <p:sldId id="256" r:id="rId10"/>
    <p:sldId id="276" r:id="rId11"/>
    <p:sldId id="277" r:id="rId12"/>
    <p:sldId id="278" r:id="rId13"/>
    <p:sldId id="279" r:id="rId14"/>
    <p:sldId id="269" r:id="rId15"/>
    <p:sldId id="271" r:id="rId16"/>
    <p:sldId id="272" r:id="rId17"/>
    <p:sldId id="273" r:id="rId18"/>
    <p:sldId id="274" r:id="rId19"/>
    <p:sldId id="26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4660"/>
  </p:normalViewPr>
  <p:slideViewPr>
    <p:cSldViewPr snapToGrid="0">
      <p:cViewPr varScale="1">
        <p:scale>
          <a:sx n="113" d="100"/>
          <a:sy n="113" d="100"/>
        </p:scale>
        <p:origin x="126" y="10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endParaRPr lang="en-US" sz="1800" dirty="0" smtClean="0"/>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endParaRPr lang="en-US" sz="1800" dirty="0" smtClean="0"/>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endParaRPr lang="en-US" sz="1800" dirty="0" smtClean="0"/>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endParaRPr lang="en-US" sz="1800" dirty="0" smtClean="0"/>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endParaRPr lang="en-US" sz="1800" dirty="0" smtClean="0"/>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AF849700-E68A-447A-B4CD-C55696CF082A}" srcId="{48914873-C460-43A6-8A7F-9F5DC4D43744}" destId="{86A20244-5C10-4D99-A135-EE1FC94007AD}" srcOrd="5" destOrd="0" parTransId="{FE14AF2E-79F5-45B1-95EB-BBC061ED2848}" sibTransId="{2F9B0FED-66DD-4DA5-B56E-BF19210A7B32}"/>
    <dgm:cxn modelId="{84F558AD-3CEE-4264-99AA-B0ACD9FAF4AC}" type="presOf" srcId="{78E86AF5-BDE7-40A2-BB48-3781EBA8B21E}" destId="{B710CF74-13DC-491D-8AA7-EE713AB0A121}" srcOrd="0" destOrd="0" presId="urn:microsoft.com/office/officeart/2008/layout/VerticalCurvedList"/>
    <dgm:cxn modelId="{9C5CE53D-DA31-4BC6-9391-BA308C57CAEE}" type="presOf" srcId="{48914873-C460-43A6-8A7F-9F5DC4D43744}" destId="{3B73ACC1-496C-40F5-B241-D7E8E221BFF7}" srcOrd="0" destOrd="0" presId="urn:microsoft.com/office/officeart/2008/layout/VerticalCurvedList"/>
    <dgm:cxn modelId="{340C1A1B-EEC7-4E14-9B62-791D4166C8ED}" type="presOf" srcId="{312DE6B4-F0D4-4BC3-A484-5E27BC83857C}" destId="{537CCD8C-EC29-4A94-81A7-0B4E010ADBB1}"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9732441B-1070-4844-8B23-1F2A5EDFD7DA}" srcId="{48914873-C460-43A6-8A7F-9F5DC4D43744}" destId="{2A698087-0C77-46BC-BEE3-9DD62B31079B}" srcOrd="0" destOrd="0" parTransId="{545886D5-ECF3-47AB-A738-82363A11B743}" sibTransId="{DF51E2A6-ABF0-49DE-8ADB-388659769540}"/>
    <dgm:cxn modelId="{23417440-9C51-49DE-BA19-47C841CCB655}" type="presOf" srcId="{68987326-02A7-40EE-8530-CA56E5E2ED4A}" destId="{C6D19E84-6DD9-43A3-921E-AC3C76D4EF46}" srcOrd="0" destOrd="0" presId="urn:microsoft.com/office/officeart/2008/layout/VerticalCurvedList"/>
    <dgm:cxn modelId="{B7E08669-60B2-4B2D-9D13-99506069B54A}" srcId="{48914873-C460-43A6-8A7F-9F5DC4D43744}" destId="{312DE6B4-F0D4-4BC3-A484-5E27BC83857C}" srcOrd="4" destOrd="0" parTransId="{1EE57FA4-84BD-4211-895C-96AD4EADAFFD}" sibTransId="{C8EDAA7C-A942-4EE9-85AC-D63CFA73981F}"/>
    <dgm:cxn modelId="{EA1D3AFC-1C1E-429B-AE2D-B05F3F7F59CF}" type="presOf" srcId="{DF51E2A6-ABF0-49DE-8ADB-388659769540}" destId="{C88AC33A-9E7B-48FE-AA69-CF0915BA28B4}"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440B84C4-E5E7-4AB1-84EB-F3703F958FD3}" type="presOf" srcId="{2A698087-0C77-46BC-BEE3-9DD62B31079B}" destId="{458817C7-6BEC-45B3-895F-78F93D5B61B1}"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AC976CB2-1B6A-40BC-B27B-643BA912EC1F}" type="presOf" srcId="{86A20244-5C10-4D99-A135-EE1FC94007AD}" destId="{3CDC6EAF-654A-40F3-B5C2-E5916E974EC3}"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endParaRPr lang="en-US" sz="1800" kern="1200" dirty="0" smtClean="0"/>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endParaRPr lang="en-US" sz="1800" kern="1200" dirty="0" smtClean="0"/>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endParaRPr lang="en-US" sz="1800" kern="1200" dirty="0" smtClean="0"/>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endParaRPr lang="en-US" sz="1800" kern="1200" dirty="0" smtClean="0"/>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endParaRPr lang="en-US" sz="1800" kern="1200" dirty="0" smtClean="0"/>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4/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Windows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indows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windowsazure.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1772092" y="1387475"/>
            <a:ext cx="8647816" cy="5291138"/>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TotalTime>
  <Words>612</Words>
  <Application>Microsoft Office PowerPoint</Application>
  <PresentationFormat>Widescreen</PresentationFormat>
  <Paragraphs>79</Paragraphs>
  <Slides>13</Slides>
  <Notes>4</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hat’s next</vt:lpstr>
      <vt:lpstr>Agenda</vt:lpstr>
      <vt:lpstr>What we covered</vt:lpstr>
      <vt:lpstr>What we learned today</vt:lpstr>
      <vt:lpstr>What we learned today</vt:lpstr>
      <vt:lpstr>What we learned today</vt:lpstr>
      <vt:lpstr>What you can do next</vt:lpstr>
      <vt:lpstr>Top resources for more info</vt:lpstr>
      <vt:lpstr>ASP.NET Questions</vt:lpstr>
      <vt:lpstr>Web Camps</vt:lpstr>
      <vt:lpstr>Windows Azure</vt:lpstr>
      <vt:lpstr>ASP.NET si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0</cp:revision>
  <dcterms:created xsi:type="dcterms:W3CDTF">2013-08-05T17:04:56Z</dcterms:created>
  <dcterms:modified xsi:type="dcterms:W3CDTF">2013-10-04T17:48:31Z</dcterms:modified>
</cp:coreProperties>
</file>